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6A2C6F-9D25-17FF-8A1E-9D40458370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5C01F4-D822-A5C1-69B1-FB286BD5EC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310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70BAD3-0EF3-FB47-FE27-646F601178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4FDB40-53F4-AC86-638A-8EFE2E3C9C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B32908E-5140-F640-70E4-E00338F361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19450" y="2486025"/>
            <a:ext cx="575310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29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20</Words>
  <Application>Microsoft Office PowerPoint</Application>
  <PresentationFormat>Widescreen</PresentationFormat>
  <Paragraphs>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5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